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</p:sldMasterIdLst>
  <p:notesMasterIdLst>
    <p:notesMasterId r:id="rId6"/>
  </p:notesMasterIdLst>
  <p:sldIdLst>
    <p:sldId id="2147470122" r:id="rId4"/>
    <p:sldId id="2147470119" r:id="rId5"/>
  </p:sldIdLst>
  <p:sldSz cx="12192000" cy="6858000"/>
  <p:notesSz cx="6797675" cy="9926638"/>
  <p:custDataLst>
    <p:tags r:id="rId7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0000"/>
    <a:srgbClr val="E9CD49"/>
    <a:srgbClr val="507867"/>
    <a:srgbClr val="FFFFFF"/>
    <a:srgbClr val="5C5C5C"/>
    <a:srgbClr val="FAEEC3"/>
    <a:srgbClr val="F2DE8A"/>
    <a:srgbClr val="C6AA3D"/>
    <a:srgbClr val="AB8933"/>
    <a:srgbClr val="FAEC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36F892D-D4B6-4306-9523-E140CA51C9BA}" v="164" dt="2024-08-08T11:16:58.824"/>
  </p1510:revLst>
</p1510:revInfo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92" autoAdjust="0"/>
    <p:restoredTop sz="96552" autoAdjust="0"/>
  </p:normalViewPr>
  <p:slideViewPr>
    <p:cSldViewPr snapToGrid="0">
      <p:cViewPr varScale="1">
        <p:scale>
          <a:sx n="98" d="100"/>
          <a:sy n="98" d="100"/>
        </p:scale>
        <p:origin x="84" y="4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slideMaster" Target="slideMasters/slideMaster1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2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ijay, Rahul" userId="a840d856-14f6-4578-923a-f1748c496635" providerId="ADAL" clId="{336F892D-D4B6-4306-9523-E140CA51C9BA}"/>
    <pc:docChg chg="undo custSel addSld modSld">
      <pc:chgData name="Vijay, Rahul" userId="a840d856-14f6-4578-923a-f1748c496635" providerId="ADAL" clId="{336F892D-D4B6-4306-9523-E140CA51C9BA}" dt="2024-08-08T11:16:58.824" v="289" actId="164"/>
      <pc:docMkLst>
        <pc:docMk/>
      </pc:docMkLst>
      <pc:sldChg chg="modSp mod">
        <pc:chgData name="Vijay, Rahul" userId="a840d856-14f6-4578-923a-f1748c496635" providerId="ADAL" clId="{336F892D-D4B6-4306-9523-E140CA51C9BA}" dt="2024-08-08T09:54:16.805" v="8" actId="207"/>
        <pc:sldMkLst>
          <pc:docMk/>
          <pc:sldMk cId="1404683052" sldId="2147470119"/>
        </pc:sldMkLst>
        <pc:graphicFrameChg chg="mod modGraphic">
          <ac:chgData name="Vijay, Rahul" userId="a840d856-14f6-4578-923a-f1748c496635" providerId="ADAL" clId="{336F892D-D4B6-4306-9523-E140CA51C9BA}" dt="2024-08-08T09:54:16.805" v="8" actId="207"/>
          <ac:graphicFrameMkLst>
            <pc:docMk/>
            <pc:sldMk cId="1404683052" sldId="2147470119"/>
            <ac:graphicFrameMk id="21" creationId="{C67D708B-CF8C-41D6-BFAC-3FA67BFEFAF6}"/>
          </ac:graphicFrameMkLst>
        </pc:graphicFrameChg>
      </pc:sldChg>
      <pc:sldChg chg="addSp delSp modSp new mod replTag">
        <pc:chgData name="Vijay, Rahul" userId="a840d856-14f6-4578-923a-f1748c496635" providerId="ADAL" clId="{336F892D-D4B6-4306-9523-E140CA51C9BA}" dt="2024-08-08T11:16:58.824" v="289" actId="164"/>
        <pc:sldMkLst>
          <pc:docMk/>
          <pc:sldMk cId="1241585760" sldId="2147470123"/>
        </pc:sldMkLst>
        <pc:spChg chg="add mod">
          <ac:chgData name="Vijay, Rahul" userId="a840d856-14f6-4578-923a-f1748c496635" providerId="ADAL" clId="{336F892D-D4B6-4306-9523-E140CA51C9BA}" dt="2024-08-08T11:15:55.039" v="72"/>
          <ac:spMkLst>
            <pc:docMk/>
            <pc:sldMk cId="1241585760" sldId="2147470123"/>
            <ac:spMk id="7" creationId="{EAE54F2B-CA1C-8731-39FB-470AA73407C7}"/>
          </ac:spMkLst>
        </pc:spChg>
        <pc:spChg chg="add mod">
          <ac:chgData name="Vijay, Rahul" userId="a840d856-14f6-4578-923a-f1748c496635" providerId="ADAL" clId="{336F892D-D4B6-4306-9523-E140CA51C9BA}" dt="2024-08-08T11:15:55.041" v="74"/>
          <ac:spMkLst>
            <pc:docMk/>
            <pc:sldMk cId="1241585760" sldId="2147470123"/>
            <ac:spMk id="8" creationId="{2D25FACF-D56F-390F-7CE0-F7EDA85F1F6F}"/>
          </ac:spMkLst>
        </pc:spChg>
        <pc:spChg chg="add mod">
          <ac:chgData name="Vijay, Rahul" userId="a840d856-14f6-4578-923a-f1748c496635" providerId="ADAL" clId="{336F892D-D4B6-4306-9523-E140CA51C9BA}" dt="2024-08-08T11:15:55.039" v="72"/>
          <ac:spMkLst>
            <pc:docMk/>
            <pc:sldMk cId="1241585760" sldId="2147470123"/>
            <ac:spMk id="9" creationId="{12982FCB-B517-3A75-D6BC-4F1F0C9AB261}"/>
          </ac:spMkLst>
        </pc:spChg>
        <pc:spChg chg="add mod">
          <ac:chgData name="Vijay, Rahul" userId="a840d856-14f6-4578-923a-f1748c496635" providerId="ADAL" clId="{336F892D-D4B6-4306-9523-E140CA51C9BA}" dt="2024-08-08T11:15:55.041" v="74"/>
          <ac:spMkLst>
            <pc:docMk/>
            <pc:sldMk cId="1241585760" sldId="2147470123"/>
            <ac:spMk id="10" creationId="{81513E3A-F216-151D-66A5-55B524E4CAE0}"/>
          </ac:spMkLst>
        </pc:spChg>
        <pc:grpChg chg="add mod">
          <ac:chgData name="Vijay, Rahul" userId="a840d856-14f6-4578-923a-f1748c496635" providerId="ADAL" clId="{336F892D-D4B6-4306-9523-E140CA51C9BA}" dt="2024-08-08T11:15:55.040" v="73"/>
          <ac:grpSpMkLst>
            <pc:docMk/>
            <pc:sldMk cId="1241585760" sldId="2147470123"/>
            <ac:grpSpMk id="11" creationId="{CA41742C-7212-D4BE-CAB0-E707B875730C}"/>
          </ac:grpSpMkLst>
        </pc:grpChg>
        <pc:grpChg chg="add mod">
          <ac:chgData name="Vijay, Rahul" userId="a840d856-14f6-4578-923a-f1748c496635" providerId="ADAL" clId="{336F892D-D4B6-4306-9523-E140CA51C9BA}" dt="2024-08-08T11:15:55.041" v="75"/>
          <ac:grpSpMkLst>
            <pc:docMk/>
            <pc:sldMk cId="1241585760" sldId="2147470123"/>
            <ac:grpSpMk id="12" creationId="{17DAA500-236C-F0BC-5A3A-A79917BB1D3E}"/>
          </ac:grpSpMkLst>
        </pc:grpChg>
        <pc:grpChg chg="add mod">
          <ac:chgData name="Vijay, Rahul" userId="a840d856-14f6-4578-923a-f1748c496635" providerId="ADAL" clId="{336F892D-D4B6-4306-9523-E140CA51C9BA}" dt="2024-08-08T11:16:58.824" v="289" actId="164"/>
          <ac:grpSpMkLst>
            <pc:docMk/>
            <pc:sldMk cId="1241585760" sldId="2147470123"/>
            <ac:grpSpMk id="35" creationId="{28932766-7DD6-65CE-910D-B2F62B7AC2F7}"/>
          </ac:grpSpMkLst>
        </pc:grpChg>
        <pc:picChg chg="add mod">
          <ac:chgData name="Vijay, Rahul" userId="a840d856-14f6-4578-923a-f1748c496635" providerId="ADAL" clId="{336F892D-D4B6-4306-9523-E140CA51C9BA}" dt="2024-08-08T11:16:58.824" v="289" actId="164"/>
          <ac:picMkLst>
            <pc:docMk/>
            <pc:sldMk cId="1241585760" sldId="2147470123"/>
            <ac:picMk id="14" creationId="{41863012-BB5F-E0BB-4F7F-96FAB2E2B044}"/>
          </ac:picMkLst>
        </pc:picChg>
        <pc:picChg chg="add del mod">
          <ac:chgData name="Vijay, Rahul" userId="a840d856-14f6-4578-923a-f1748c496635" providerId="ADAL" clId="{336F892D-D4B6-4306-9523-E140CA51C9BA}" dt="2024-08-08T11:16:01.360" v="89"/>
          <ac:picMkLst>
            <pc:docMk/>
            <pc:sldMk cId="1241585760" sldId="2147470123"/>
            <ac:picMk id="15" creationId="{CC49B679-DC8B-6234-75EB-8595E5D52628}"/>
          </ac:picMkLst>
        </pc:picChg>
        <pc:picChg chg="add del mod">
          <ac:chgData name="Vijay, Rahul" userId="a840d856-14f6-4578-923a-f1748c496635" providerId="ADAL" clId="{336F892D-D4B6-4306-9523-E140CA51C9BA}" dt="2024-08-08T11:16:01.514" v="102"/>
          <ac:picMkLst>
            <pc:docMk/>
            <pc:sldMk cId="1241585760" sldId="2147470123"/>
            <ac:picMk id="16" creationId="{7749F2A9-1C64-6B2F-19F1-7A67C26BE247}"/>
          </ac:picMkLst>
        </pc:picChg>
        <pc:picChg chg="add mod">
          <ac:chgData name="Vijay, Rahul" userId="a840d856-14f6-4578-923a-f1748c496635" providerId="ADAL" clId="{336F892D-D4B6-4306-9523-E140CA51C9BA}" dt="2024-08-08T11:16:58.824" v="289" actId="164"/>
          <ac:picMkLst>
            <pc:docMk/>
            <pc:sldMk cId="1241585760" sldId="2147470123"/>
            <ac:picMk id="18" creationId="{50E5A7EE-1201-1EA5-7AB6-18FD161ECF96}"/>
          </ac:picMkLst>
        </pc:picChg>
        <pc:picChg chg="add mod">
          <ac:chgData name="Vijay, Rahul" userId="a840d856-14f6-4578-923a-f1748c496635" providerId="ADAL" clId="{336F892D-D4B6-4306-9523-E140CA51C9BA}" dt="2024-08-08T11:16:58.824" v="289" actId="164"/>
          <ac:picMkLst>
            <pc:docMk/>
            <pc:sldMk cId="1241585760" sldId="2147470123"/>
            <ac:picMk id="20" creationId="{0244F099-3305-CC40-5F62-B477DFD848E1}"/>
          </ac:picMkLst>
        </pc:picChg>
        <pc:picChg chg="add del mod">
          <ac:chgData name="Vijay, Rahul" userId="a840d856-14f6-4578-923a-f1748c496635" providerId="ADAL" clId="{336F892D-D4B6-4306-9523-E140CA51C9BA}" dt="2024-08-08T11:16:18.677" v="202" actId="478"/>
          <ac:picMkLst>
            <pc:docMk/>
            <pc:sldMk cId="1241585760" sldId="2147470123"/>
            <ac:picMk id="22" creationId="{19FF1192-CE1E-7199-5363-9D89D74A12BE}"/>
          </ac:picMkLst>
        </pc:picChg>
        <pc:picChg chg="add del mod">
          <ac:chgData name="Vijay, Rahul" userId="a840d856-14f6-4578-923a-f1748c496635" providerId="ADAL" clId="{336F892D-D4B6-4306-9523-E140CA51C9BA}" dt="2024-08-08T11:16:14.429" v="139"/>
          <ac:picMkLst>
            <pc:docMk/>
            <pc:sldMk cId="1241585760" sldId="2147470123"/>
            <ac:picMk id="23" creationId="{6A6F7706-235D-57A0-BAE4-EB7550631122}"/>
          </ac:picMkLst>
        </pc:picChg>
        <pc:picChg chg="add del mod">
          <ac:chgData name="Vijay, Rahul" userId="a840d856-14f6-4578-923a-f1748c496635" providerId="ADAL" clId="{336F892D-D4B6-4306-9523-E140CA51C9BA}" dt="2024-08-08T11:16:14.429" v="139"/>
          <ac:picMkLst>
            <pc:docMk/>
            <pc:sldMk cId="1241585760" sldId="2147470123"/>
            <ac:picMk id="24" creationId="{CD13D6E0-F01E-9355-7091-C88606034DC3}"/>
          </ac:picMkLst>
        </pc:picChg>
        <pc:picChg chg="add del mod">
          <ac:chgData name="Vijay, Rahul" userId="a840d856-14f6-4578-923a-f1748c496635" providerId="ADAL" clId="{336F892D-D4B6-4306-9523-E140CA51C9BA}" dt="2024-08-08T11:16:16.288" v="174"/>
          <ac:picMkLst>
            <pc:docMk/>
            <pc:sldMk cId="1241585760" sldId="2147470123"/>
            <ac:picMk id="25" creationId="{10778E9B-786F-C566-03FB-27FFB664CF80}"/>
          </ac:picMkLst>
        </pc:picChg>
        <pc:picChg chg="add del mod">
          <ac:chgData name="Vijay, Rahul" userId="a840d856-14f6-4578-923a-f1748c496635" providerId="ADAL" clId="{336F892D-D4B6-4306-9523-E140CA51C9BA}" dt="2024-08-08T11:16:16.288" v="174"/>
          <ac:picMkLst>
            <pc:docMk/>
            <pc:sldMk cId="1241585760" sldId="2147470123"/>
            <ac:picMk id="26" creationId="{A2882233-52E8-CE97-20EC-A7CE3327B578}"/>
          </ac:picMkLst>
        </pc:picChg>
        <pc:picChg chg="add del mod">
          <ac:chgData name="Vijay, Rahul" userId="a840d856-14f6-4578-923a-f1748c496635" providerId="ADAL" clId="{336F892D-D4B6-4306-9523-E140CA51C9BA}" dt="2024-08-08T11:16:17.584" v="187"/>
          <ac:picMkLst>
            <pc:docMk/>
            <pc:sldMk cId="1241585760" sldId="2147470123"/>
            <ac:picMk id="27" creationId="{4DA8A876-34FA-8A54-E070-3F1512B09002}"/>
          </ac:picMkLst>
        </pc:picChg>
        <pc:picChg chg="add del mod">
          <ac:chgData name="Vijay, Rahul" userId="a840d856-14f6-4578-923a-f1748c496635" providerId="ADAL" clId="{336F892D-D4B6-4306-9523-E140CA51C9BA}" dt="2024-08-08T11:16:17.731" v="200"/>
          <ac:picMkLst>
            <pc:docMk/>
            <pc:sldMk cId="1241585760" sldId="2147470123"/>
            <ac:picMk id="28" creationId="{7FD8F7F2-A24C-7DDD-ADFD-6B52D1B91968}"/>
          </ac:picMkLst>
        </pc:picChg>
        <pc:picChg chg="add del mod">
          <ac:chgData name="Vijay, Rahul" userId="a840d856-14f6-4578-923a-f1748c496635" providerId="ADAL" clId="{336F892D-D4B6-4306-9523-E140CA51C9BA}" dt="2024-08-08T11:16:20.131" v="215"/>
          <ac:picMkLst>
            <pc:docMk/>
            <pc:sldMk cId="1241585760" sldId="2147470123"/>
            <ac:picMk id="29" creationId="{7B144395-D342-E923-5AFD-9ECA37E6180B}"/>
          </ac:picMkLst>
        </pc:picChg>
        <pc:picChg chg="add del mod">
          <ac:chgData name="Vijay, Rahul" userId="a840d856-14f6-4578-923a-f1748c496635" providerId="ADAL" clId="{336F892D-D4B6-4306-9523-E140CA51C9BA}" dt="2024-08-08T11:16:20.252" v="228"/>
          <ac:picMkLst>
            <pc:docMk/>
            <pc:sldMk cId="1241585760" sldId="2147470123"/>
            <ac:picMk id="30" creationId="{147EBACF-5AAB-7D6C-7E00-7A4BFCEDC1FA}"/>
          </ac:picMkLst>
        </pc:picChg>
        <pc:picChg chg="add del mod">
          <ac:chgData name="Vijay, Rahul" userId="a840d856-14f6-4578-923a-f1748c496635" providerId="ADAL" clId="{336F892D-D4B6-4306-9523-E140CA51C9BA}" dt="2024-08-08T11:16:24.293" v="242"/>
          <ac:picMkLst>
            <pc:docMk/>
            <pc:sldMk cId="1241585760" sldId="2147470123"/>
            <ac:picMk id="31" creationId="{A0B64F56-CC95-73D3-1B9E-CC1203AF6CD2}"/>
          </ac:picMkLst>
        </pc:picChg>
        <pc:picChg chg="add del mod">
          <ac:chgData name="Vijay, Rahul" userId="a840d856-14f6-4578-923a-f1748c496635" providerId="ADAL" clId="{336F892D-D4B6-4306-9523-E140CA51C9BA}" dt="2024-08-08T11:16:25.139" v="255"/>
          <ac:picMkLst>
            <pc:docMk/>
            <pc:sldMk cId="1241585760" sldId="2147470123"/>
            <ac:picMk id="32" creationId="{9586CE39-0265-BA66-8A02-12F0CFB32B0E}"/>
          </ac:picMkLst>
        </pc:picChg>
        <pc:picChg chg="add del mod">
          <ac:chgData name="Vijay, Rahul" userId="a840d856-14f6-4578-923a-f1748c496635" providerId="ADAL" clId="{336F892D-D4B6-4306-9523-E140CA51C9BA}" dt="2024-08-08T11:16:35.699" v="269"/>
          <ac:picMkLst>
            <pc:docMk/>
            <pc:sldMk cId="1241585760" sldId="2147470123"/>
            <ac:picMk id="33" creationId="{3A3FC0F5-264D-D78F-8E92-FE03A78A69ED}"/>
          </ac:picMkLst>
        </pc:picChg>
        <pc:picChg chg="add del mod">
          <ac:chgData name="Vijay, Rahul" userId="a840d856-14f6-4578-923a-f1748c496635" providerId="ADAL" clId="{336F892D-D4B6-4306-9523-E140CA51C9BA}" dt="2024-08-08T11:16:44.987" v="285"/>
          <ac:picMkLst>
            <pc:docMk/>
            <pc:sldMk cId="1241585760" sldId="2147470123"/>
            <ac:picMk id="34" creationId="{8C9C25B2-9B1A-2857-A309-8D92BDAB5348}"/>
          </ac:picMkLst>
        </pc:picChg>
        <pc:cxnChg chg="add mod ord">
          <ac:chgData name="Vijay, Rahul" userId="a840d856-14f6-4578-923a-f1748c496635" providerId="ADAL" clId="{336F892D-D4B6-4306-9523-E140CA51C9BA}" dt="2024-08-08T11:15:55.039" v="72"/>
          <ac:cxnSpMkLst>
            <pc:docMk/>
            <pc:sldMk cId="1241585760" sldId="2147470123"/>
            <ac:cxnSpMk id="3" creationId="{E449B8B0-AF32-FD2D-C72B-F3261A252C94}"/>
          </ac:cxnSpMkLst>
        </pc:cxnChg>
        <pc:cxnChg chg="add mod ord">
          <ac:chgData name="Vijay, Rahul" userId="a840d856-14f6-4578-923a-f1748c496635" providerId="ADAL" clId="{336F892D-D4B6-4306-9523-E140CA51C9BA}" dt="2024-08-08T11:15:55.041" v="74"/>
          <ac:cxnSpMkLst>
            <pc:docMk/>
            <pc:sldMk cId="1241585760" sldId="2147470123"/>
            <ac:cxnSpMk id="4" creationId="{0D15D0E0-0AD2-25F7-944A-73AC757E76D8}"/>
          </ac:cxnSpMkLst>
        </pc:cxnChg>
        <pc:cxnChg chg="add mod ord">
          <ac:chgData name="Vijay, Rahul" userId="a840d856-14f6-4578-923a-f1748c496635" providerId="ADAL" clId="{336F892D-D4B6-4306-9523-E140CA51C9BA}" dt="2024-08-08T11:15:55.039" v="72"/>
          <ac:cxnSpMkLst>
            <pc:docMk/>
            <pc:sldMk cId="1241585760" sldId="2147470123"/>
            <ac:cxnSpMk id="5" creationId="{8049169C-005C-6909-4A87-EC8712E6A314}"/>
          </ac:cxnSpMkLst>
        </pc:cxnChg>
        <pc:cxnChg chg="add mod ord">
          <ac:chgData name="Vijay, Rahul" userId="a840d856-14f6-4578-923a-f1748c496635" providerId="ADAL" clId="{336F892D-D4B6-4306-9523-E140CA51C9BA}" dt="2024-08-08T11:15:55.041" v="74"/>
          <ac:cxnSpMkLst>
            <pc:docMk/>
            <pc:sldMk cId="1241585760" sldId="2147470123"/>
            <ac:cxnSpMk id="6" creationId="{4E47C574-1F01-4518-FE9C-C62703BA388E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7D0C95-E343-43D9-B72B-D0201742EC75}" type="datetimeFigureOut">
              <a:rPr lang="en-US" smtClean="0"/>
              <a:t>8/9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72761D-3203-4508-AB5B-4C194F0832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3117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 dirty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3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9F73F-40C4-459A-87F2-5B4A916D8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  <a:endParaRPr lang="en-US" sz="100" dirty="0">
              <a:solidFill>
                <a:schemeClr val="bg1">
                  <a:alpha val="0"/>
                </a:schemeClr>
              </a:solidFill>
            </a:endParaRP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Template slides for Transforma ...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  <a:endParaRPr lang="en-US" sz="600" dirty="0">
              <a:solidFill>
                <a:srgbClr val="FFFFFF"/>
              </a:solidFill>
            </a:endParaRP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208" userDrawn="1">
          <p15:clr>
            <a:srgbClr val="CCCCCC"/>
          </p15:clr>
        </p15:guide>
        <p15:guide id="9" pos="7472" userDrawn="1">
          <p15:clr>
            <a:srgbClr val="CCCCC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7.xml"/><Relationship Id="rId7" Type="http://schemas.openxmlformats.org/officeDocument/2006/relationships/image" Target="../media/image6.e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9.xml"/><Relationship Id="rId10" Type="http://schemas.openxmlformats.org/officeDocument/2006/relationships/image" Target="../media/image9.emf"/><Relationship Id="rId4" Type="http://schemas.openxmlformats.org/officeDocument/2006/relationships/tags" Target="../tags/tag8.xml"/><Relationship Id="rId9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72982800-0054-1B30-5788-0516FDB49D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3615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2982800-0054-1B30-5788-0516FDB49D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btfpColumnIndicatorGroup2">
            <a:extLst>
              <a:ext uri="{FF2B5EF4-FFF2-40B4-BE49-F238E27FC236}">
                <a16:creationId xmlns:a16="http://schemas.microsoft.com/office/drawing/2014/main" id="{154B0D1C-DA23-824F-438A-9584940D8C41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2" name="btfpColumnGapBlocker142707">
              <a:extLst>
                <a:ext uri="{FF2B5EF4-FFF2-40B4-BE49-F238E27FC236}">
                  <a16:creationId xmlns:a16="http://schemas.microsoft.com/office/drawing/2014/main" id="{0A4FA960-3FD0-90DB-D608-2E3C53142DD3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0" name="btfpColumnGapBlocker381726">
              <a:extLst>
                <a:ext uri="{FF2B5EF4-FFF2-40B4-BE49-F238E27FC236}">
                  <a16:creationId xmlns:a16="http://schemas.microsoft.com/office/drawing/2014/main" id="{43E497FD-0F1D-B5B7-1B89-C1E406332FAA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8" name="btfpColumnIndicator373724">
              <a:extLst>
                <a:ext uri="{FF2B5EF4-FFF2-40B4-BE49-F238E27FC236}">
                  <a16:creationId xmlns:a16="http://schemas.microsoft.com/office/drawing/2014/main" id="{203D31C7-4FD1-CB4A-4AA9-A006FE3CEF5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406725">
              <a:extLst>
                <a:ext uri="{FF2B5EF4-FFF2-40B4-BE49-F238E27FC236}">
                  <a16:creationId xmlns:a16="http://schemas.microsoft.com/office/drawing/2014/main" id="{4D0E4272-7CCF-521E-889E-41A7A2C3F0F7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btfpColumnIndicatorGroup1">
            <a:extLst>
              <a:ext uri="{FF2B5EF4-FFF2-40B4-BE49-F238E27FC236}">
                <a16:creationId xmlns:a16="http://schemas.microsoft.com/office/drawing/2014/main" id="{66B97491-3C9C-671E-2BB0-9F9E9928AB0A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1" name="btfpColumnGapBlocker326136">
              <a:extLst>
                <a:ext uri="{FF2B5EF4-FFF2-40B4-BE49-F238E27FC236}">
                  <a16:creationId xmlns:a16="http://schemas.microsoft.com/office/drawing/2014/main" id="{DCEA6FCD-6700-7CDC-9974-BA921A06C91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btfpColumnGapBlocker932127">
              <a:extLst>
                <a:ext uri="{FF2B5EF4-FFF2-40B4-BE49-F238E27FC236}">
                  <a16:creationId xmlns:a16="http://schemas.microsoft.com/office/drawing/2014/main" id="{87268082-86C1-5DC3-D7ED-884E9B93AB4B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7" name="btfpColumnIndicator346835">
              <a:extLst>
                <a:ext uri="{FF2B5EF4-FFF2-40B4-BE49-F238E27FC236}">
                  <a16:creationId xmlns:a16="http://schemas.microsoft.com/office/drawing/2014/main" id="{89512308-13BE-B74A-03DE-8E23243CCD4D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894326">
              <a:extLst>
                <a:ext uri="{FF2B5EF4-FFF2-40B4-BE49-F238E27FC236}">
                  <a16:creationId xmlns:a16="http://schemas.microsoft.com/office/drawing/2014/main" id="{EC106BA6-8AA4-FF49-FDC0-CA68EC0E7C96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53F4C197-2A36-1E84-E1E3-B968797C4CF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581FD10-AAF5-A2C3-9F26-2930C748164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A4DB66D-56C4-19F5-A95A-87F5613116D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089550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etail (United States) Revenue: less than 5000000 Current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2466280"/>
              </p:ext>
            </p:extLst>
          </p:nvPr>
        </p:nvGraphicFramePr>
        <p:xfrm>
          <a:off x="330197" y="1270004"/>
          <a:ext cx="11522077" cy="2811385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455060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74914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835119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944623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44623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44623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44623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944623">
                  <a:extLst>
                    <a:ext uri="{9D8B030D-6E8A-4147-A177-3AD203B41FA5}">
                      <a16:colId xmlns:a16="http://schemas.microsoft.com/office/drawing/2014/main" val="1044370447"/>
                    </a:ext>
                  </a:extLst>
                </a:gridCol>
                <a:gridCol w="944623">
                  <a:extLst>
                    <a:ext uri="{9D8B030D-6E8A-4147-A177-3AD203B41FA5}">
                      <a16:colId xmlns:a16="http://schemas.microsoft.com/office/drawing/2014/main" val="1746473339"/>
                    </a:ext>
                  </a:extLst>
                </a:gridCol>
                <a:gridCol w="944623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44623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614684"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CA" sz="1000">
                          <a:latin typeface="+mj-lt"/>
                        </a:rPr>
                        <a:t>Compan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US" sz="1000">
                          <a:latin typeface="+mj-lt"/>
                        </a:rPr>
                        <a:t>R</a:t>
                      </a:r>
                      <a:r>
                        <a:rPr lang="en-CA" sz="1000" err="1">
                          <a:latin typeface="+mj-lt"/>
                        </a:rPr>
                        <a:t>evenue</a:t>
                      </a:r>
                      <a:r>
                        <a:rPr lang="en-CA" sz="1000">
                          <a:latin typeface="+mj-lt"/>
                        </a:rPr>
                        <a:t> 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US" sz="1000">
                          <a:latin typeface="+mj-lt"/>
                        </a:rPr>
                        <a:t>Sector</a:t>
                      </a:r>
                      <a:endParaRPr lang="en-CA" sz="100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CA" sz="1000">
                          <a:latin typeface="+mj-lt"/>
                        </a:rPr>
                        <a:t>EBIT % </a:t>
                      </a:r>
                      <a:r>
                        <a:rPr lang="en-CA" sz="1000" err="1">
                          <a:latin typeface="+mj-lt"/>
                        </a:rPr>
                        <a:t>pt</a:t>
                      </a:r>
                      <a:r>
                        <a:rPr lang="en-CA" sz="1000">
                          <a:latin typeface="+mj-lt"/>
                        </a:rPr>
                        <a:t>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US" sz="1000">
                          <a:latin typeface="+mj-lt"/>
                        </a:rPr>
                        <a:t>E</a:t>
                      </a:r>
                      <a:r>
                        <a:rPr lang="en-CA" sz="100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CA" sz="100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CA" sz="100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CA" sz="1000">
                          <a:latin typeface="+mj-lt"/>
                        </a:rPr>
                        <a:t>Projected Rev </a:t>
                      </a:r>
                      <a:r>
                        <a:rPr lang="en-CA" sz="1000" err="1">
                          <a:latin typeface="+mj-lt"/>
                        </a:rPr>
                        <a:t>opp’ty</a:t>
                      </a:r>
                      <a:r>
                        <a:rPr lang="en-CA" sz="1000">
                          <a:latin typeface="+mj-lt"/>
                        </a:rPr>
                        <a:t>  ’22-’24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CA" sz="1000">
                          <a:latin typeface="+mj-lt"/>
                        </a:rPr>
                        <a:t>Historical Rev. Growth ’22 vs ‘21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CA" sz="1000">
                          <a:latin typeface="+mj-lt"/>
                        </a:rPr>
                        <a:t>Relative ESG Score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258835"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50028"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70073"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38426"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179283"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50028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50028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endParaRPr lang="en-GB" sz="1000" b="0" i="0" u="none" strike="noStrike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</a:tbl>
          </a:graphicData>
        </a:graphic>
      </p:graphicFrame>
      <p:sp>
        <p:nvSpPr>
          <p:cNvPr id="20" name="btfpNotesBox412344">
            <a:extLst>
              <a:ext uri="{FF2B5EF4-FFF2-40B4-BE49-F238E27FC236}">
                <a16:creationId xmlns:a16="http://schemas.microsoft.com/office/drawing/2014/main" id="{A56F81EF-F813-4668-B577-C5E6C6C3CFE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scores: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Below Median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quartile,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= </a:t>
            </a:r>
            <a:r>
              <a:rPr kumimoji="0" lang="en-CA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quartile</a:t>
            </a:r>
            <a:endParaRPr kumimoji="0" lang="en-CA" sz="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43C24FA-A1DE-441C-9B00-5C3DD82BBB6E}"/>
              </a:ext>
            </a:extLst>
          </p:cNvPr>
          <p:cNvSpPr/>
          <p:nvPr/>
        </p:nvSpPr>
        <p:spPr bwMode="gray">
          <a:xfrm>
            <a:off x="32657" y="1879339"/>
            <a:ext cx="239485" cy="2255635"/>
          </a:xfrm>
          <a:prstGeom prst="rect">
            <a:avLst/>
          </a:prstGeom>
          <a:solidFill>
            <a:srgbClr val="CC0000"/>
          </a:solidFill>
          <a:ln w="9525" cap="flat" cmpd="sng" algn="ctr">
            <a:solidFill>
              <a:srgbClr val="CC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00" b="1">
                <a:solidFill>
                  <a:srgbClr val="FFFFFF"/>
                </a:solidFill>
              </a:rPr>
              <a:t>Bain Recent  Clients</a:t>
            </a:r>
          </a:p>
        </p:txBody>
      </p:sp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29572982"/>
              </p:ext>
            </p:ext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9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10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  <p:grpSp>
        <p:nvGrpSpPr>
          <p:cNvPr id="26" name="btfpStatusSticker152378">
            <a:extLst>
              <a:ext uri="{FF2B5EF4-FFF2-40B4-BE49-F238E27FC236}">
                <a16:creationId xmlns:a16="http://schemas.microsoft.com/office/drawing/2014/main" id="{3C873065-6AD4-462D-825F-6FB69FCF4D1C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0804779" y="955344"/>
            <a:ext cx="1057021" cy="235611"/>
            <a:chOff x="-3497561" y="876300"/>
            <a:chExt cx="1057021" cy="235611"/>
          </a:xfrm>
        </p:grpSpPr>
        <p:sp>
          <p:nvSpPr>
            <p:cNvPr id="27" name="btfpStatusStickerText152378">
              <a:extLst>
                <a:ext uri="{FF2B5EF4-FFF2-40B4-BE49-F238E27FC236}">
                  <a16:creationId xmlns:a16="http://schemas.microsoft.com/office/drawing/2014/main" id="{ACD31A56-E044-4A20-B122-39DF37FA15BD}"/>
                </a:ext>
              </a:extLst>
            </p:cNvPr>
            <p:cNvSpPr txBox="1"/>
            <p:nvPr/>
          </p:nvSpPr>
          <p:spPr bwMode="gray">
            <a:xfrm>
              <a:off x="-3497561" y="876300"/>
              <a:ext cx="1057021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c ’22</a:t>
              </a:r>
            </a:p>
          </p:txBody>
        </p:sp>
        <p:cxnSp>
          <p:nvCxnSpPr>
            <p:cNvPr id="28" name="btfpStatusStickerLine152378">
              <a:extLst>
                <a:ext uri="{FF2B5EF4-FFF2-40B4-BE49-F238E27FC236}">
                  <a16:creationId xmlns:a16="http://schemas.microsoft.com/office/drawing/2014/main" id="{A20523A7-640E-4D08-8959-A8C65B03061D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3497561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14046830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COLUMNGUIDE" val="Visible"/>
  <p:tag name="OFFICE" val="Boston"/>
  <p:tag name="MEKKOFORMATS" val="&lt;MekkoFormats&gt;&lt;NumberFormat DecimalSeparator=&quot;.&quot; ThousandSeparator=&quot;,&quot; NegativeNumberFormat=&quot;1&quot; /&gt;&lt;DateFormat CultureID=&quot;1033&quot; FormatString=&quot;M/d/yyyy&quot; /&gt;&lt;Font&gt;&lt;Output_Font_Name Default=&quot;Arial&quot; UsePPTTheme=&quot;True&quot; /&gt;&lt;/Font&gt;&lt;/MekkoFormats&gt;"/>
  <p:tag name="THINKCELLPRESENTATIONDONOTDELETE" val="&lt;?xml version=&quot;1.0&quot; encoding=&quot;UTF-16&quot; standalone=&quot;yes&quot;?&gt;&lt;root reqver=&quot;30783&quot;&gt;&lt;version val=&quot;3668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E28C1D2031CE49B65EB9398B6665A4" ma:contentTypeVersion="16" ma:contentTypeDescription="Ein neues Dokument erstellen." ma:contentTypeScope="" ma:versionID="915be8ddf9203496dff81045837c2095">
  <xsd:schema xmlns:xsd="http://www.w3.org/2001/XMLSchema" xmlns:xs="http://www.w3.org/2001/XMLSchema" xmlns:p="http://schemas.microsoft.com/office/2006/metadata/properties" xmlns:ns2="024ef72b-9a44-443b-86c7-2b9b89248177" xmlns:ns3="df6b8441-aa16-4692-b757-547843ef6d58" xmlns:ns4="0e427f73-0d6a-4740-aee4-eea3ddf9cfe2" targetNamespace="http://schemas.microsoft.com/office/2006/metadata/properties" ma:root="true" ma:fieldsID="93e82e7d94d6100c07791c5c9fddab0b" ns2:_="" ns3:_="" ns4:_="">
    <xsd:import namespace="024ef72b-9a44-443b-86c7-2b9b89248177"/>
    <xsd:import namespace="df6b8441-aa16-4692-b757-547843ef6d58"/>
    <xsd:import namespace="0e427f73-0d6a-4740-aee4-eea3ddf9cf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ef72b-9a44-443b-86c7-2b9b892481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6b8441-aa16-4692-b757-547843ef6d58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427f73-0d6a-4740-aee4-eea3ddf9cfe2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a85ec8ad-9b94-48bf-98e4-b3da507f3f23}" ma:internalName="TaxCatchAll" ma:showField="CatchAllData" ma:web="df6b8441-aa16-4692-b757-547843ef6d5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38E3FDD-F0A4-4844-9D40-FD90550EE8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4ef72b-9a44-443b-86c7-2b9b89248177"/>
    <ds:schemaRef ds:uri="df6b8441-aa16-4692-b757-547843ef6d58"/>
    <ds:schemaRef ds:uri="0e427f73-0d6a-4740-aee4-eea3ddf9cfe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40</TotalTime>
  <Words>95</Words>
  <Application>Microsoft Office PowerPoint</Application>
  <PresentationFormat>Widescreen</PresentationFormat>
  <Paragraphs>21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6" baseType="lpstr">
      <vt:lpstr>Arial</vt:lpstr>
      <vt:lpstr>Calibri</vt:lpstr>
      <vt:lpstr>Bain Core</vt:lpstr>
      <vt:lpstr>think-cell Slide</vt:lpstr>
      <vt:lpstr>PowerPoint Presentation</vt:lpstr>
      <vt:lpstr>Retail (United States) Revenue: less than 5000000 Current</vt:lpstr>
    </vt:vector>
  </TitlesOfParts>
  <Company>Bain an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laji, Ashwin</dc:creator>
  <cp:lastModifiedBy>Kapoor, Rohan</cp:lastModifiedBy>
  <cp:revision>43</cp:revision>
  <cp:lastPrinted>2017-02-15T14:23:56Z</cp:lastPrinted>
  <dcterms:created xsi:type="dcterms:W3CDTF">2024-07-23T08:24:21Z</dcterms:created>
  <dcterms:modified xsi:type="dcterms:W3CDTF">2024-08-09T06:01:38Z</dcterms:modified>
</cp:coreProperties>
</file>